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7"/>
  </p:notesMasterIdLst>
  <p:handoutMasterIdLst>
    <p:handoutMasterId r:id="rId18"/>
  </p:handoutMasterIdLst>
  <p:sldIdLst>
    <p:sldId id="355" r:id="rId5"/>
    <p:sldId id="382" r:id="rId6"/>
    <p:sldId id="387" r:id="rId7"/>
    <p:sldId id="335" r:id="rId8"/>
    <p:sldId id="386" r:id="rId9"/>
    <p:sldId id="384" r:id="rId10"/>
    <p:sldId id="385" r:id="rId11"/>
    <p:sldId id="379" r:id="rId12"/>
    <p:sldId id="381" r:id="rId13"/>
    <p:sldId id="383" r:id="rId14"/>
    <p:sldId id="388" r:id="rId15"/>
    <p:sldId id="380" r:id="rId16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27" autoAdjust="0"/>
    <p:restoredTop sz="95742" autoAdjust="0"/>
  </p:normalViewPr>
  <p:slideViewPr>
    <p:cSldViewPr snapToGrid="0" snapToObjects="1" showGuides="1">
      <p:cViewPr varScale="1">
        <p:scale>
          <a:sx n="99" d="100"/>
          <a:sy n="99" d="100"/>
        </p:scale>
        <p:origin x="182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0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981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919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072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12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MVC-Pattern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(7342775)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 (3703690)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6" idx="0"/>
            <a:endCxn id="68" idx="2"/>
          </p:cNvCxnSpPr>
          <p:nvPr/>
        </p:nvCxnSpPr>
        <p:spPr>
          <a:xfrm rot="16200000" flipV="1">
            <a:off x="4067895" y="4549948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4], [7], [8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2000957" y="3024867"/>
            <a:ext cx="8190085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Danke für die Aufmerksamkeit</a:t>
            </a:r>
            <a:endParaRPr lang="de-DE" sz="4800" dirty="0"/>
          </a:p>
        </p:txBody>
      </p:sp>
    </p:spTree>
    <p:extLst>
      <p:ext uri="{BB962C8B-B14F-4D97-AF65-F5344CB8AC3E}">
        <p14:creationId xmlns:p14="http://schemas.microsoft.com/office/powerpoint/2010/main" val="2218109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241380"/>
            <a:ext cx="9393689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>
                <a:effectLst/>
              </a:rPr>
              <a:t>[1] N. </a:t>
            </a:r>
            <a:r>
              <a:rPr lang="de-DE" sz="1200" b="0" dirty="0" err="1">
                <a:effectLst/>
              </a:rPr>
              <a:t>Delessy-Gassant</a:t>
            </a:r>
            <a:r>
              <a:rPr lang="de-DE" sz="1200" b="0" dirty="0">
                <a:effectLst/>
              </a:rPr>
              <a:t> und E. B. Fernandez, „The Secure MVC </a:t>
            </a:r>
            <a:r>
              <a:rPr lang="de-DE" sz="1200" b="0" dirty="0" err="1">
                <a:effectLst/>
              </a:rPr>
              <a:t>pattern</a:t>
            </a:r>
            <a:r>
              <a:rPr lang="de-DE" sz="1200" b="0" dirty="0">
                <a:effectLst/>
              </a:rPr>
              <a:t>,“ in 10th La-</a:t>
            </a:r>
            <a:r>
              <a:rPr lang="de-DE" sz="1200" b="0" dirty="0" err="1">
                <a:effectLst/>
              </a:rPr>
              <a:t>tin</a:t>
            </a:r>
            <a:r>
              <a:rPr lang="de-DE" sz="1200" b="0" dirty="0">
                <a:effectLst/>
              </a:rPr>
              <a:t> American and Caribbean Conference </a:t>
            </a:r>
            <a:r>
              <a:rPr lang="de-DE" sz="1200" b="0" dirty="0" err="1">
                <a:effectLst/>
              </a:rPr>
              <a:t>for</a:t>
            </a:r>
            <a:r>
              <a:rPr lang="de-DE" sz="1200" b="0" dirty="0">
                <a:effectLst/>
              </a:rPr>
              <a:t> Engineering and Technology, </a:t>
            </a:r>
            <a:r>
              <a:rPr lang="de-DE" sz="1200" b="0" dirty="0" err="1">
                <a:effectLst/>
              </a:rPr>
              <a:t>LACCEIInternational</a:t>
            </a:r>
            <a:r>
              <a:rPr lang="de-DE" sz="1200" b="0" dirty="0">
                <a:effectLst/>
              </a:rPr>
              <a:t> Symposium on Software Architecture and Patterns (LACCEI-ISAP-MiniPLoP’2012), Panama City, Panama, 2012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2] W. Cui, L. Huang, L. Liang und J. Li, „A Development Framework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PHP </a:t>
            </a:r>
            <a:r>
              <a:rPr lang="de-DE" sz="1200" b="0" dirty="0" err="1">
                <a:effectLst/>
              </a:rPr>
              <a:t>Bas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nMVC</a:t>
            </a:r>
            <a:r>
              <a:rPr lang="de-DE" sz="1200" b="0" dirty="0">
                <a:effectLst/>
              </a:rPr>
              <a:t> Design Patterns - FDF Framework,“ in 2009 </a:t>
            </a:r>
            <a:r>
              <a:rPr lang="de-DE" sz="1200" b="0" dirty="0" err="1">
                <a:effectLst/>
              </a:rPr>
              <a:t>Fourth</a:t>
            </a:r>
            <a:r>
              <a:rPr lang="de-DE" sz="1200" b="0" dirty="0">
                <a:effectLst/>
              </a:rPr>
              <a:t> International </a:t>
            </a:r>
            <a:r>
              <a:rPr lang="de-DE" sz="1200" b="0" dirty="0" err="1">
                <a:effectLst/>
              </a:rPr>
              <a:t>Conferenceon</a:t>
            </a:r>
            <a:r>
              <a:rPr lang="de-DE" sz="1200" b="0" dirty="0">
                <a:effectLst/>
              </a:rPr>
              <a:t> Computer Sciences and </a:t>
            </a:r>
            <a:r>
              <a:rPr lang="de-DE" sz="1200" b="0" dirty="0" err="1">
                <a:effectLst/>
              </a:rPr>
              <a:t>Convergence</a:t>
            </a:r>
            <a:r>
              <a:rPr lang="de-DE" sz="1200" b="0" dirty="0">
                <a:effectLst/>
              </a:rPr>
              <a:t> Information Technology, Date </a:t>
            </a:r>
            <a:r>
              <a:rPr lang="de-DE" sz="1200" b="0" dirty="0" err="1">
                <a:effectLst/>
              </a:rPr>
              <a:t>Adde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EEEXplore</a:t>
            </a:r>
            <a:r>
              <a:rPr lang="de-DE" sz="1200" b="0" dirty="0">
                <a:effectLst/>
              </a:rPr>
              <a:t>: 31 </a:t>
            </a:r>
            <a:r>
              <a:rPr lang="de-DE" sz="1200" b="0" dirty="0" err="1">
                <a:effectLst/>
              </a:rPr>
              <a:t>December</a:t>
            </a:r>
            <a:r>
              <a:rPr lang="de-DE" sz="1200" b="0" dirty="0">
                <a:effectLst/>
              </a:rPr>
              <a:t> 2009, Seoul, Korea (South): IEEE, Nov. 2009, S. 1077–1082.doi: 10.1109/ICCIT.2009.130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3] T. Olsson, D. Toll, A. </a:t>
            </a:r>
            <a:r>
              <a:rPr lang="de-DE" sz="1200" b="0" dirty="0" err="1">
                <a:effectLst/>
              </a:rPr>
              <a:t>Wingkvist</a:t>
            </a:r>
            <a:r>
              <a:rPr lang="de-DE" sz="1200" b="0" dirty="0">
                <a:effectLst/>
              </a:rPr>
              <a:t> und M. Ericsson, „Evolution and Evaluation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Model</a:t>
            </a:r>
            <a:r>
              <a:rPr lang="de-DE" sz="1200" b="0" dirty="0">
                <a:effectLst/>
              </a:rPr>
              <a:t>-View-Controller Architecture in Games,“ in Proceedings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2015 IEEE/ACM4th International Workshop on Games and Software Engineering, IEEE, 2015, S. 8–14.doi: 10.1109/GAS.2015.10. Adresse: </a:t>
            </a:r>
            <a:r>
              <a:rPr lang="de-DE" sz="1200" b="0" dirty="0">
                <a:effectLst/>
                <a:hlinkClick r:id="rId6"/>
              </a:rPr>
              <a:t>https://doi.org/10.1109/GAS.2015.10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4] D. S. </a:t>
            </a:r>
            <a:r>
              <a:rPr lang="de-DE" sz="1200" b="0" dirty="0" err="1">
                <a:effectLst/>
              </a:rPr>
              <a:t>Aihara</a:t>
            </a:r>
            <a:r>
              <a:rPr lang="de-DE" sz="1200" b="0" dirty="0">
                <a:effectLst/>
              </a:rPr>
              <a:t>, „A Journey Through </a:t>
            </a:r>
            <a:r>
              <a:rPr lang="de-DE" sz="1200" b="0" dirty="0" err="1">
                <a:effectLst/>
              </a:rPr>
              <a:t>the</a:t>
            </a:r>
            <a:r>
              <a:rPr lang="de-DE" sz="1200" b="0" dirty="0">
                <a:effectLst/>
              </a:rPr>
              <a:t> Land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odel-View Design Patterns,“ </a:t>
            </a:r>
            <a:r>
              <a:rPr lang="de-DE" sz="1200" b="0" dirty="0" err="1">
                <a:effectLst/>
              </a:rPr>
              <a:t>Masterof</a:t>
            </a:r>
            <a:r>
              <a:rPr lang="de-DE" sz="1200" b="0" dirty="0">
                <a:effectLst/>
              </a:rPr>
              <a:t> Science Thesis, </a:t>
            </a:r>
            <a:r>
              <a:rPr lang="de-DE" sz="1200" b="0" dirty="0" err="1">
                <a:effectLst/>
              </a:rPr>
              <a:t>Diss</a:t>
            </a:r>
            <a:r>
              <a:rPr lang="de-DE" sz="1200" b="0" dirty="0">
                <a:effectLst/>
              </a:rPr>
              <a:t>., Universidad </a:t>
            </a:r>
            <a:r>
              <a:rPr lang="de-DE" sz="1200" b="0" dirty="0" err="1">
                <a:effectLst/>
              </a:rPr>
              <a:t>Politécnica</a:t>
            </a:r>
            <a:r>
              <a:rPr lang="de-DE" sz="1200" b="0" dirty="0">
                <a:effectLst/>
              </a:rPr>
              <a:t> de Madrid und </a:t>
            </a:r>
            <a:r>
              <a:rPr lang="de-DE" sz="1200" b="0" dirty="0" err="1">
                <a:effectLst/>
              </a:rPr>
              <a:t>Blekinge</a:t>
            </a:r>
            <a:r>
              <a:rPr lang="de-DE" sz="1200" b="0" dirty="0">
                <a:effectLst/>
              </a:rPr>
              <a:t> Institute </a:t>
            </a:r>
            <a:r>
              <a:rPr lang="de-DE" sz="1200" b="0" dirty="0" err="1">
                <a:effectLst/>
              </a:rPr>
              <a:t>ofTechnology</a:t>
            </a:r>
            <a:r>
              <a:rPr lang="de-DE" sz="1200" b="0" dirty="0">
                <a:effectLst/>
              </a:rPr>
              <a:t>, 2012. Adresse: /</a:t>
            </a:r>
            <a:r>
              <a:rPr lang="de-DE" sz="1200" b="0" dirty="0" err="1">
                <a:effectLst/>
              </a:rPr>
              <a:t>mnt</a:t>
            </a:r>
            <a:r>
              <a:rPr lang="de-DE" sz="1200" b="0" dirty="0">
                <a:effectLst/>
              </a:rPr>
              <a:t>/</a:t>
            </a:r>
            <a:r>
              <a:rPr lang="de-DE" sz="1200" b="0" dirty="0" err="1">
                <a:effectLst/>
              </a:rPr>
              <a:t>data</a:t>
            </a:r>
            <a:r>
              <a:rPr lang="de-DE" sz="1200" b="0" dirty="0">
                <a:effectLst/>
              </a:rPr>
              <a:t>/a_journey_through_the_land_of_model_view_design_pattern.pdf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5] Anonymous, „Understanding MVC: A Study in Web </a:t>
            </a:r>
            <a:r>
              <a:rPr lang="de-DE" sz="1200" b="0" dirty="0" err="1">
                <a:effectLst/>
              </a:rPr>
              <a:t>Applicatio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Development,“EUDL</a:t>
            </a:r>
            <a:r>
              <a:rPr lang="de-DE" sz="1200" b="0" dirty="0">
                <a:effectLst/>
              </a:rPr>
              <a:t> (European Union Digital Library), 2020. Adresse: </a:t>
            </a:r>
            <a:r>
              <a:rPr lang="de-DE" sz="1200" b="0" dirty="0">
                <a:effectLst/>
                <a:hlinkClick r:id="rId7"/>
              </a:rPr>
              <a:t>https://eudl.eu/doi/10.4108/eai.20-10-2020.2305151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6] Anonymous, „</a:t>
            </a:r>
            <a:r>
              <a:rPr lang="de-DE" sz="1200" b="0" dirty="0" err="1">
                <a:effectLst/>
              </a:rPr>
              <a:t>Demystifying</a:t>
            </a:r>
            <a:r>
              <a:rPr lang="de-DE" sz="1200" b="0" dirty="0">
                <a:effectLst/>
              </a:rPr>
              <a:t> MVC Architecture,“ </a:t>
            </a:r>
            <a:r>
              <a:rPr lang="de-DE" sz="1200" b="0" dirty="0" err="1">
                <a:effectLst/>
              </a:rPr>
              <a:t>ResearchGate</a:t>
            </a:r>
            <a:r>
              <a:rPr lang="de-DE" sz="1200" b="0" dirty="0">
                <a:effectLst/>
              </a:rPr>
              <a:t>, 2019. Adresse: </a:t>
            </a:r>
            <a:r>
              <a:rPr lang="de-DE" sz="1200" b="0" dirty="0">
                <a:effectLst/>
                <a:hlinkClick r:id="rId8"/>
              </a:rPr>
              <a:t>https://www.researchgate.net/publication/334555489_Demystifying_MVC_Architecture</a:t>
            </a:r>
            <a:r>
              <a:rPr lang="de-DE" sz="1200" b="0" dirty="0">
                <a:effectLst/>
              </a:rPr>
              <a:t>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7] M. R. J. </a:t>
            </a:r>
            <a:r>
              <a:rPr lang="de-DE" sz="1200" b="0" dirty="0" err="1">
                <a:effectLst/>
              </a:rPr>
              <a:t>Qureshi</a:t>
            </a:r>
            <a:r>
              <a:rPr lang="de-DE" sz="1200" b="0" dirty="0">
                <a:effectLst/>
              </a:rPr>
              <a:t> und F. Sabir, „A COMPARISON OF MODEL VIEW CONTROL-LER AND MODEL VIEW PRESENTER,“ Journal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Computing and </a:t>
            </a:r>
            <a:r>
              <a:rPr lang="de-DE" sz="1200" b="0" dirty="0" err="1">
                <a:effectLst/>
              </a:rPr>
              <a:t>InformationTechnology</a:t>
            </a:r>
            <a:r>
              <a:rPr lang="de-DE" sz="1200" b="0" dirty="0">
                <a:effectLst/>
              </a:rPr>
              <a:t>, Jg. XX, Nr. YY, ZZ–ZZ, 2024.</a:t>
            </a:r>
          </a:p>
          <a:p>
            <a:endParaRPr lang="de-DE" sz="1200" dirty="0"/>
          </a:p>
          <a:p>
            <a:r>
              <a:rPr lang="de-DE" sz="1200" b="0" dirty="0">
                <a:effectLst/>
              </a:rPr>
              <a:t>[8] G. Arcos-Medina, J. Menéndez und J. Vallejo, „</a:t>
            </a:r>
            <a:r>
              <a:rPr lang="de-DE" sz="1200" b="0" dirty="0" err="1">
                <a:effectLst/>
              </a:rPr>
              <a:t>Comparative</a:t>
            </a:r>
            <a:r>
              <a:rPr lang="de-DE" sz="1200" b="0" dirty="0">
                <a:effectLst/>
              </a:rPr>
              <a:t> Study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erformanceand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Productivity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of</a:t>
            </a:r>
            <a:r>
              <a:rPr lang="de-DE" sz="1200" b="0" dirty="0">
                <a:effectLst/>
              </a:rPr>
              <a:t> MVC and MVVM design </a:t>
            </a:r>
            <a:r>
              <a:rPr lang="de-DE" sz="1200" b="0" dirty="0" err="1">
                <a:effectLst/>
              </a:rPr>
              <a:t>patterns</a:t>
            </a:r>
            <a:r>
              <a:rPr lang="de-DE" sz="1200" b="0" dirty="0">
                <a:effectLst/>
              </a:rPr>
              <a:t>,“ in </a:t>
            </a:r>
            <a:r>
              <a:rPr lang="de-DE" sz="1200" b="0" dirty="0" err="1">
                <a:effectLst/>
              </a:rPr>
              <a:t>Simposi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beroamericano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enProgramación</a:t>
            </a:r>
            <a:r>
              <a:rPr lang="de-DE" sz="1200" b="0" dirty="0">
                <a:effectLst/>
              </a:rPr>
              <a:t> </a:t>
            </a:r>
            <a:r>
              <a:rPr lang="de-DE" sz="1200" b="0" dirty="0" err="1">
                <a:effectLst/>
              </a:rPr>
              <a:t>Informática</a:t>
            </a:r>
            <a:r>
              <a:rPr lang="de-DE" sz="1200" b="0" dirty="0">
                <a:effectLst/>
              </a:rPr>
              <a:t> (Ibero-American Symposium on Computer </a:t>
            </a:r>
            <a:r>
              <a:rPr lang="de-DE" sz="1200" b="0" dirty="0" err="1">
                <a:effectLst/>
              </a:rPr>
              <a:t>Programming</a:t>
            </a:r>
            <a:r>
              <a:rPr lang="de-DE" sz="1200" b="0" dirty="0">
                <a:effectLst/>
              </a:rPr>
              <a:t>),Knowledge E, 2018, S. 241–252. </a:t>
            </a:r>
            <a:r>
              <a:rPr lang="de-DE" sz="1200" b="0" dirty="0" err="1">
                <a:effectLst/>
              </a:rPr>
              <a:t>doi</a:t>
            </a:r>
            <a:r>
              <a:rPr lang="de-DE" sz="1200" b="0" dirty="0">
                <a:effectLst/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944B32-AE93-377A-BDB3-FB771F572826}"/>
              </a:ext>
            </a:extLst>
          </p:cNvPr>
          <p:cNvSpPr txBox="1"/>
          <p:nvPr/>
        </p:nvSpPr>
        <p:spPr>
          <a:xfrm>
            <a:off x="3099707" y="3024867"/>
            <a:ext cx="5992586" cy="8082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4800" b="1" dirty="0"/>
              <a:t>M</a:t>
            </a:r>
            <a:r>
              <a:rPr lang="de-DE" sz="4800" dirty="0"/>
              <a:t>odel-</a:t>
            </a:r>
            <a:r>
              <a:rPr lang="de-DE" sz="4800" b="1" dirty="0"/>
              <a:t>V</a:t>
            </a:r>
            <a:r>
              <a:rPr lang="de-DE" sz="4800" dirty="0"/>
              <a:t>iew-</a:t>
            </a:r>
            <a:r>
              <a:rPr lang="de-DE" sz="4800" b="1" dirty="0"/>
              <a:t>C</a:t>
            </a:r>
            <a:r>
              <a:rPr lang="de-DE" sz="4800" dirty="0"/>
              <a:t>ontroller</a:t>
            </a:r>
          </a:p>
        </p:txBody>
      </p:sp>
    </p:spTree>
    <p:extLst>
      <p:ext uri="{BB962C8B-B14F-4D97-AF65-F5344CB8AC3E}">
        <p14:creationId xmlns:p14="http://schemas.microsoft.com/office/powerpoint/2010/main" val="1339491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DB03CA2-3E6D-9DDF-7705-22A37BA5EF5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</a:t>
            </a:r>
            <a:r>
              <a:rPr lang="en-US"/>
              <a:t>MVC?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pic>
        <p:nvPicPr>
          <p:cNvPr id="3" name="Grafik 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089F6692-AA62-3609-D75B-AD4346797A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273" y="1351761"/>
            <a:ext cx="6195454" cy="4154477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FAFB12A2-2C0C-1A40-8EED-F5B65F024F9E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</a:t>
            </a:r>
          </a:p>
        </p:txBody>
      </p:sp>
    </p:spTree>
    <p:extLst>
      <p:ext uri="{BB962C8B-B14F-4D97-AF65-F5344CB8AC3E}">
        <p14:creationId xmlns:p14="http://schemas.microsoft.com/office/powerpoint/2010/main" val="3912279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 -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3807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7608" y="2228681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arbeit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D223083-A538-2529-7FDE-101E8C105664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5], [6]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3533F5-A353-47AA-9B24-FCC403F2D4EC}">
  <ds:schemaRefs>
    <ds:schemaRef ds:uri="http://schemas.microsoft.com/office/2006/metadata/properties"/>
    <ds:schemaRef ds:uri="http://purl.org/dc/terms/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02411e59-dda3-46ff-8ab6-d4f199e654bf"/>
    <ds:schemaRef ds:uri="http://schemas.microsoft.com/office/infopath/2007/PartnerControls"/>
    <ds:schemaRef ds:uri="b58ff312-d4e5-4e8b-85fa-f33ca903d5d7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713</Words>
  <Application>Microsoft Office PowerPoint</Application>
  <PresentationFormat>Breitbild</PresentationFormat>
  <Paragraphs>105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as ist MVC?</vt:lpstr>
      <vt:lpstr>Wie funktioniert MVC?</vt:lpstr>
      <vt:lpstr>Wie funktioniert MVC?</vt:lpstr>
      <vt:lpstr>Wie funktioniert MVC? - Beispiel</vt:lpstr>
      <vt:lpstr>Wie funktioniert MVC? - Beispiel</vt:lpstr>
      <vt:lpstr>Vorteile MVC?</vt:lpstr>
      <vt:lpstr>Nachteile MVC?</vt:lpstr>
      <vt:lpstr>Verwandte Pattern MV*</vt:lpstr>
      <vt:lpstr>PowerPoint-Präsentation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asener, Kevin (415)</cp:lastModifiedBy>
  <cp:revision>113</cp:revision>
  <cp:lastPrinted>2020-11-30T14:54:11Z</cp:lastPrinted>
  <dcterms:created xsi:type="dcterms:W3CDTF">2024-01-22T16:00:24Z</dcterms:created>
  <dcterms:modified xsi:type="dcterms:W3CDTF">2024-12-10T14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